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4"/>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7246303C-6281-430B-9244-5D7D77ACD496}">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8" d="100"/>
          <a:sy n="48" d="100"/>
        </p:scale>
        <p:origin x="726" y="36"/>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notesMaster" Target="notesMasters/notesMaster1.xml"/><Relationship Id="rId35" Type="http://schemas.openxmlformats.org/officeDocument/2006/relationships/presProps" Target="presProps.xml"/><Relationship Id="rId36" Type="http://schemas.openxmlformats.org/officeDocument/2006/relationships/viewProps" Target="viewProps.xml"/><Relationship Id="rId37" Type="http://schemas.openxmlformats.org/officeDocument/2006/relationships/theme" Target="theme/theme1.xml"/><Relationship Id="rId38" Type="http://schemas.openxmlformats.org/officeDocument/2006/relationships/tableStyles" Target="tableStyles.xml"/><Relationship Id="rId39" Type="http://schemas.microsoft.com/office/2015/10/relationships/revisionInfo" Target="revisionInfo.xml"/><Relationship Id="rId40"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5.650464100526105e-06</c:v>
                </c:pt>
                <c:pt idx="1">
                  <c:v/>
                </c:pt>
                <c:pt idx="2">
                  <c:v>3.8990761974833894e-06</c:v>
                </c:pt>
                <c:pt idx="3">
                  <c:v>0.013471328328147713</c:v>
                </c:pt>
                <c:pt idx="4">
                  <c:v>0.000677679328887141</c:v>
                </c:pt>
                <c:pt idx="5">
                  <c:v>0.012869052576944614</c:v>
                </c:pt>
                <c:pt idx="6">
                  <c:v>5.834825460795723e-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0.02022863555306563</c:v>
                </c:pt>
                <c:pt idx="5">
                  <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2022863555306563</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1195949308392695e-06</c:v>
                </c:pt>
                <c:pt idx="1">
                  <c:v/>
                </c:pt>
                <c:pt idx="2">
                  <c:v/>
                </c:pt>
                <c:pt idx="3">
                  <c:v>0.005172271858072901</c:v>
                </c:pt>
                <c:pt idx="4">
                  <c:v>0.03691210355428746</c:v>
                </c:pt>
                <c:pt idx="5">
                  <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4.8509985823384675e-06</c:v>
                </c:pt>
                <c:pt idx="4">
                  <c:v>2.525372791393849e-05</c:v>
                </c:pt>
                <c:pt idx="5">
                  <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2.525372791393849e-05</c:v>
                </c:pt>
                <c:pt idx="3">
                  <c:v>4.8509985823384675e-06</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2011055399856943</c:v>
                </c:pt>
                <c:pt idx="4">
                  <c:v>0.06841796762062685</c:v>
                </c:pt>
                <c:pt idx="5">
                  <c:v>0.016041137382526667</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20414795047385217</c:v>
                </c:pt>
                <c:pt idx="4">
                  <c:v>0.07340172764031956</c:v>
                </c:pt>
                <c:pt idx="5">
                  <c:v>0.015271064113262924</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5271064113262924</c:v>
                </c:pt>
                <c:pt idx="2">
                  <c:v>0.07340172764031956</c:v>
                </c:pt>
                <c:pt idx="3">
                  <c:v>0.020414795047385217</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5.650464100526105e-06</c:v>
                </c:pt>
                <c:pt idx="1">
                  <c:v/>
                </c:pt>
                <c:pt idx="2">
                  <c:v>3.8990761974833894e-06</c:v>
                </c:pt>
                <c:pt idx="3">
                  <c:v>0.013471328328147713</c:v>
                </c:pt>
                <c:pt idx="4">
                  <c:v>0.000677679328887141</c:v>
                </c:pt>
                <c:pt idx="5">
                  <c:v>0.012869052576944614</c:v>
                </c:pt>
                <c:pt idx="6">
                  <c:v>5.834825460795723e-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1969035214207722e-07</c:v>
                </c:pt>
                <c:pt idx="1">
                  <c:v/>
                </c:pt>
                <c:pt idx="2">
                  <c:v/>
                </c:pt>
                <c:pt idx="3">
                  <c:v/>
                </c:pt>
                <c:pt idx="4">
                  <c:v/>
                </c:pt>
                <c:pt idx="5">
                  <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7.148203296867518e-07</c:v>
                </c:pt>
                <c:pt idx="1">
                  <c:v/>
                </c:pt>
                <c:pt idx="2">
                  <c:v/>
                </c:pt>
                <c:pt idx="3">
                  <c:v/>
                </c:pt>
                <c:pt idx="4">
                  <c:v/>
                </c:pt>
                <c:pt idx="5">
                  <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7.148203296867518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871734443266597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0.00437126072285106</c:v>
                </c:pt>
                <c:pt idx="5">
                  <c:v>0.004369324731405162</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0.007720050625362799</c:v>
                </c:pt>
                <c:pt idx="5">
                  <c:v>0.0064254037852506385</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64254037852506385</c:v>
                </c:pt>
                <c:pt idx="2">
                  <c:v>0.007720050625362799</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2011055399856943</c:v>
                </c:pt>
                <c:pt idx="4">
                  <c:v>0.06841796762062685</c:v>
                </c:pt>
                <c:pt idx="5">
                  <c:v>0.016041137382526667</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11214055862343275</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3641435018604366</c:v>
                </c:pt>
                <c:pt idx="4">
                  <c:v>0.0862603146053981</c:v>
                </c:pt>
                <c:pt idx="5">
                  <c:v>0.024761673501406786</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24761673501406786</c:v>
                </c:pt>
                <c:pt idx="2">
                  <c:v>0.0862603146053981</c:v>
                </c:pt>
                <c:pt idx="3">
                  <c:v>0.03641435018604366</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0.00437126072285106</c:v>
                </c:pt>
                <c:pt idx="5">
                  <c:v>0.004369324731405162</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0.0030404936380131753</c:v>
                </c:pt>
                <c:pt idx="5">
                  <c:v>0.00540910185083731</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540910185083731</c:v>
                </c:pt>
                <c:pt idx="2">
                  <c:v>0.0030404936380131753</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11214055862343275</c:v>
                </c:pt>
                <c:pt idx="2">
                  <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1121572724597649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1670551892246316</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670551892246316</c:v>
                </c:pt>
                <c:pt idx="2">
                  <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1121572724597649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14744307286063463</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4744307286063463</c:v>
                </c:pt>
                <c:pt idx="2">
                  <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871734443266597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6.302732612301194e-09</c:v>
                </c:pt>
                <c:pt idx="1">
                  <c:v/>
                </c:pt>
                <c:pt idx="2">
                  <c:v/>
                </c:pt>
                <c:pt idx="3">
                  <c:v>0.0017289708839215065</c:v>
                </c:pt>
                <c:pt idx="4">
                  <c:v>0.00622312909940783</c:v>
                </c:pt>
                <c:pt idx="5">
                  <c:v>0.00529272524214936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4.001553729815362e-08</c:v>
                </c:pt>
                <c:pt idx="1">
                  <c:v/>
                </c:pt>
                <c:pt idx="2">
                  <c:v/>
                </c:pt>
                <c:pt idx="3">
                  <c:v>0.0018658240570478485</c:v>
                </c:pt>
                <c:pt idx="4">
                  <c:v>0.007058938407149933</c:v>
                </c:pt>
                <c:pt idx="5">
                  <c:v>0.0070659207100866525</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70659207100866525</c:v>
                </c:pt>
                <c:pt idx="2">
                  <c:v>0.007058938407149933</c:v>
                </c:pt>
                <c:pt idx="3">
                  <c:v>0.0018658240570478485</c:v>
                </c:pt>
                <c:pt idx="4">
                  <c:v/>
                </c:pt>
                <c:pt idx="5">
                  <c:v/>
                </c:pt>
                <c:pt idx="6">
                  <c:v>4.001553729815362e-0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0484645492150674e-08</c:v>
                </c:pt>
                <c:pt idx="1">
                  <c:v>0.006490751229639497</c:v>
                </c:pt>
                <c:pt idx="2">
                  <c:v>0.003840420909758176</c:v>
                </c:pt>
                <c:pt idx="3">
                  <c:v>0.0025127442394987094</c:v>
                </c:pt>
                <c:pt idx="4">
                  <c:v>0.005379098018495535</c:v>
                </c:pt>
                <c:pt idx="5">
                  <c:v>0.0009387783881194689</c:v>
                </c:pt>
                <c:pt idx="6">
                  <c:v>6.2795797169906996e-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6.533148946637325e-08</c:v>
                </c:pt>
                <c:pt idx="1">
                  <c:v>0.010812154895849335</c:v>
                </c:pt>
                <c:pt idx="2">
                  <c:v>0.0053404629914445435</c:v>
                </c:pt>
                <c:pt idx="3">
                  <c:v>0.0007061419370462419</c:v>
                </c:pt>
                <c:pt idx="4">
                  <c:v>0.007958913973581195</c:v>
                </c:pt>
                <c:pt idx="5">
                  <c:v>0.001404894882633837</c:v>
                </c:pt>
                <c:pt idx="6">
                  <c:v>1.9200108110548768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9200108110548768e-05</c:v>
                </c:pt>
                <c:pt idx="1">
                  <c:v>0.001404894882633837</c:v>
                </c:pt>
                <c:pt idx="2">
                  <c:v>0.007958913973581195</c:v>
                </c:pt>
                <c:pt idx="3">
                  <c:v>0.0007061419370462419</c:v>
                </c:pt>
                <c:pt idx="4">
                  <c:v>0.0053404629914445435</c:v>
                </c:pt>
                <c:pt idx="5">
                  <c:v>0.010812154895849335</c:v>
                </c:pt>
                <c:pt idx="6">
                  <c:v>6.533148946637325e-0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3644989121223041</c:v>
                </c:pt>
                <c:pt idx="3">
                  <c:v>0.0017075224275874532</c:v>
                </c:pt>
                <c:pt idx="4">
                  <c:v>0.006308679819343283</c:v>
                </c:pt>
                <c:pt idx="5">
                  <c:v>0.003134661749438468</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6129154532006021</c:v>
                </c:pt>
                <c:pt idx="3">
                  <c:v>0.001504742631272532</c:v>
                </c:pt>
                <c:pt idx="4">
                  <c:v>0.006295989923369062</c:v>
                </c:pt>
                <c:pt idx="5">
                  <c:v>0.00470296975024233</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470296975024233</c:v>
                </c:pt>
                <c:pt idx="2">
                  <c:v>0.006295989923369062</c:v>
                </c:pt>
                <c:pt idx="3">
                  <c:v>0.001504742631272532</c:v>
                </c:pt>
                <c:pt idx="4">
                  <c:v>0.006129154532006021</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6.302732612301194e-09</c:v>
                </c:pt>
                <c:pt idx="1">
                  <c:v/>
                </c:pt>
                <c:pt idx="2">
                  <c:v/>
                </c:pt>
                <c:pt idx="3">
                  <c:v>0.0017289708839215065</c:v>
                </c:pt>
                <c:pt idx="4">
                  <c:v>0.00622312909940783</c:v>
                </c:pt>
                <c:pt idx="5">
                  <c:v>0.00529272524214936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4575245525553756</c:v>
                </c:pt>
                <c:pt idx="4">
                  <c:v>0.006325081119195046</c:v>
                </c:pt>
                <c:pt idx="5">
                  <c:v>0.005983026531854962</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5983026531854962</c:v>
                </c:pt>
                <c:pt idx="2">
                  <c:v>0.006325081119195046</c:v>
                </c:pt>
                <c:pt idx="3">
                  <c:v>0.0024575245525553756</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0484645492150674e-08</c:v>
                </c:pt>
                <c:pt idx="1">
                  <c:v>0.006490751229639497</c:v>
                </c:pt>
                <c:pt idx="2">
                  <c:v>0.003840420909758176</c:v>
                </c:pt>
                <c:pt idx="3">
                  <c:v>0.0025127442394987094</c:v>
                </c:pt>
                <c:pt idx="4">
                  <c:v>0.005379098018495535</c:v>
                </c:pt>
                <c:pt idx="5">
                  <c:v>0.0009387783881194689</c:v>
                </c:pt>
                <c:pt idx="6">
                  <c:v>6.2795797169906996e-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5358993245097792</c:v>
                </c:pt>
                <c:pt idx="2">
                  <c:v>0.003491020481048866</c:v>
                </c:pt>
                <c:pt idx="3">
                  <c:v>0.0015037313052086358</c:v>
                </c:pt>
                <c:pt idx="4">
                  <c:v>0.005344377215515022</c:v>
                </c:pt>
                <c:pt idx="5">
                  <c:v>0.00032586301568817604</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032586301568817604</c:v>
                </c:pt>
                <c:pt idx="2">
                  <c:v>0.005344377215515022</c:v>
                </c:pt>
                <c:pt idx="3">
                  <c:v>0.0015037313052086358</c:v>
                </c:pt>
                <c:pt idx="4">
                  <c:v>0.003491020481048866</c:v>
                </c:pt>
                <c:pt idx="5">
                  <c:v>0.005358993245097792</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9318942391174119</c:v>
                </c:pt>
                <c:pt idx="2">
                  <c:v>0.055137933884248834</c:v>
                </c:pt>
                <c:pt idx="3">
                  <c:v>0.03473668652662813</c:v>
                </c:pt>
                <c:pt idx="4">
                  <c:v>0.06767013652507513</c:v>
                </c:pt>
                <c:pt idx="5">
                  <c:v>0.013478288425252933</c:v>
                </c:pt>
                <c:pt idx="6">
                  <c:v>9.015757891967771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3644989121223041</c:v>
                </c:pt>
                <c:pt idx="3">
                  <c:v>0.0017075224275874532</c:v>
                </c:pt>
                <c:pt idx="4">
                  <c:v>0.006308679819343283</c:v>
                </c:pt>
                <c:pt idx="5">
                  <c:v>0.003134661749438468</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28467978089494776</c:v>
                </c:pt>
                <c:pt idx="3">
                  <c:v>0.001832228985249577</c:v>
                </c:pt>
                <c:pt idx="4">
                  <c:v>0.004806538439918062</c:v>
                </c:pt>
                <c:pt idx="5">
                  <c:v>0.0027321391200379468</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27321391200379468</c:v>
                </c:pt>
                <c:pt idx="2">
                  <c:v>0.004806538439918062</c:v>
                </c:pt>
                <c:pt idx="3">
                  <c:v>0.001832228985249577</c:v>
                </c:pt>
                <c:pt idx="4">
                  <c:v>0.0028467978089494776</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30290960806405704</c:v>
                </c:pt>
                <c:pt idx="4">
                  <c:v>0.01030526546308852</c:v>
                </c:pt>
                <c:pt idx="5">
                  <c:v>0.00509110939095656</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13883172631490734</c:v>
                </c:pt>
                <c:pt idx="2">
                  <c:v>0.0685733513406976</c:v>
                </c:pt>
                <c:pt idx="3">
                  <c:v>0.008519953373459404</c:v>
                </c:pt>
                <c:pt idx="4">
                  <c:v>0.08527918524100789</c:v>
                </c:pt>
                <c:pt idx="5">
                  <c:v>0.01803932553000234</c:v>
                </c:pt>
                <c:pt idx="6">
                  <c:v>0.0002465358830036394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3027397924249747</c:v>
                </c:pt>
                <c:pt idx="4">
                  <c:v>0.010885058477386517</c:v>
                </c:pt>
                <c:pt idx="5">
                  <c:v>0.0065005563476246845</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65005563476246845</c:v>
                </c:pt>
                <c:pt idx="2">
                  <c:v>0.010885058477386517</c:v>
                </c:pt>
                <c:pt idx="3">
                  <c:v>0.003027397924249747</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802802531396431e-08</c:v>
                </c:pt>
                <c:pt idx="1">
                  <c:v>0.011371567498881352</c:v>
                </c:pt>
                <c:pt idx="2">
                  <c:v>0.00672828214398474</c:v>
                </c:pt>
                <c:pt idx="3">
                  <c:v>0.004238791903029093</c:v>
                </c:pt>
                <c:pt idx="4">
                  <c:v>0.008257541390986695</c:v>
                </c:pt>
                <c:pt idx="5">
                  <c:v>0.0016447066648068865</c:v>
                </c:pt>
                <c:pt idx="6">
                  <c:v>1.100160244784672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0600378682627869e-07</c:v>
                </c:pt>
                <c:pt idx="1">
                  <c:v>0.017543291482773286</c:v>
                </c:pt>
                <c:pt idx="2">
                  <c:v>0.008665182825658672</c:v>
                </c:pt>
                <c:pt idx="3">
                  <c:v>0.001076612885380411</c:v>
                </c:pt>
                <c:pt idx="4">
                  <c:v>0.010776193913363263</c:v>
                </c:pt>
                <c:pt idx="5">
                  <c:v>0.0022795160322909794</c:v>
                </c:pt>
                <c:pt idx="6">
                  <c:v>3.115318790090798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115318790090798e-05</c:v>
                </c:pt>
                <c:pt idx="1">
                  <c:v>0.0022795160322909794</c:v>
                </c:pt>
                <c:pt idx="2">
                  <c:v>0.010776193913363263</c:v>
                </c:pt>
                <c:pt idx="3">
                  <c:v>0.001076612885380411</c:v>
                </c:pt>
                <c:pt idx="4">
                  <c:v>0.008665182825658672</c:v>
                </c:pt>
                <c:pt idx="5">
                  <c:v>0.017543291482773286</c:v>
                </c:pt>
                <c:pt idx="6">
                  <c:v>1.0600378682627869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24653588300363943</c:v>
                </c:pt>
                <c:pt idx="1">
                  <c:v>0.01803932553000234</c:v>
                </c:pt>
                <c:pt idx="2">
                  <c:v>0.08527918524100789</c:v>
                </c:pt>
                <c:pt idx="3">
                  <c:v>0.008519953373459404</c:v>
                </c:pt>
                <c:pt idx="4">
                  <c:v>0.0685733513406976</c:v>
                </c:pt>
                <c:pt idx="5">
                  <c:v>0.13883172631490734</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6385892535120031</c:v>
                </c:pt>
                <c:pt idx="3">
                  <c:v>0.0029915191407270925</c:v>
                </c:pt>
                <c:pt idx="4">
                  <c:v>0.011052584802033345</c:v>
                </c:pt>
                <c:pt idx="5">
                  <c:v>0.005491816957508146</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9944876440793532</c:v>
                </c:pt>
                <c:pt idx="3">
                  <c:v>0.002441524269792252</c:v>
                </c:pt>
                <c:pt idx="4">
                  <c:v>0.010215575661117129</c:v>
                </c:pt>
                <c:pt idx="5">
                  <c:v>0.00763081642447054</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763081642447054</c:v>
                </c:pt>
                <c:pt idx="2">
                  <c:v>0.010215575661117129</c:v>
                </c:pt>
                <c:pt idx="3">
                  <c:v>0.002441524269792252</c:v>
                </c:pt>
                <c:pt idx="4">
                  <c:v>0.009944876440793532</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30290960806405704</c:v>
                </c:pt>
                <c:pt idx="4">
                  <c:v>0.01030526546308852</c:v>
                </c:pt>
                <c:pt idx="5">
                  <c:v>0.00509110939095656</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603830958769038</c:v>
                </c:pt>
                <c:pt idx="4">
                  <c:v>0.014303879708351728</c:v>
                </c:pt>
                <c:pt idx="5">
                  <c:v>0.007237774229449226</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7237774229449226</c:v>
                </c:pt>
                <c:pt idx="2">
                  <c:v>0.014303879708351728</c:v>
                </c:pt>
                <c:pt idx="3">
                  <c:v>0.00603830958769038</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802802531396431e-08</c:v>
                </c:pt>
                <c:pt idx="1">
                  <c:v>0.011371567498881352</c:v>
                </c:pt>
                <c:pt idx="2">
                  <c:v>0.00672828214398474</c:v>
                </c:pt>
                <c:pt idx="3">
                  <c:v>0.004238791903029093</c:v>
                </c:pt>
                <c:pt idx="4">
                  <c:v>0.008257541390986695</c:v>
                </c:pt>
                <c:pt idx="5">
                  <c:v>0.0016447066648068865</c:v>
                </c:pt>
                <c:pt idx="6">
                  <c:v>1.100160244784672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3167420955609284</c:v>
                </c:pt>
                <c:pt idx="2">
                  <c:v>0.008577681317414165</c:v>
                </c:pt>
                <c:pt idx="3">
                  <c:v>0.0036944762042968125</c:v>
                </c:pt>
                <c:pt idx="4">
                  <c:v>0.01312996370238396</c:v>
                </c:pt>
                <c:pt idx="5">
                  <c:v>0.000800668204863958</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0800668204863958</c:v>
                </c:pt>
                <c:pt idx="2">
                  <c:v>0.01312996370238396</c:v>
                </c:pt>
                <c:pt idx="3">
                  <c:v>0.0036944762042968125</c:v>
                </c:pt>
                <c:pt idx="4">
                  <c:v>0.008577681317414165</c:v>
                </c:pt>
                <c:pt idx="5">
                  <c:v>0.013167420955609284</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6385892535120031</c:v>
                </c:pt>
                <c:pt idx="3">
                  <c:v>0.0029915191407270925</c:v>
                </c:pt>
                <c:pt idx="4">
                  <c:v>0.011052584802033345</c:v>
                </c:pt>
                <c:pt idx="5">
                  <c:v>0.005491816957508146</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6994781185856843</c:v>
                </c:pt>
                <c:pt idx="3">
                  <c:v>0.004501914675469937</c:v>
                </c:pt>
                <c:pt idx="4">
                  <c:v>0.011810000886941539</c:v>
                </c:pt>
                <c:pt idx="5">
                  <c:v>0.0067130567734408645</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67130567734408645</c:v>
                </c:pt>
                <c:pt idx="2">
                  <c:v>0.011810000886941539</c:v>
                </c:pt>
                <c:pt idx="3">
                  <c:v>0.004501914675469937</c:v>
                </c:pt>
                <c:pt idx="4">
                  <c:v>0.006994781185856843</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5233206825432513</c:v>
                </c:pt>
                <c:pt idx="3">
                  <c:v>0.024515348950153868</c:v>
                </c:pt>
                <c:pt idx="4">
                  <c:v>0.0851797485150551</c:v>
                </c:pt>
                <c:pt idx="5">
                  <c:v>0.0396119252888557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9518821305351297</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787004175139863</c:v>
                </c:pt>
                <c:pt idx="3">
                  <c:v>0.01932140439824797</c:v>
                </c:pt>
                <c:pt idx="4">
                  <c:v>0.07178276387539519</c:v>
                </c:pt>
                <c:pt idx="5">
                  <c:v>0.05284718063657199</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5284718063657199</c:v>
                </c:pt>
                <c:pt idx="2">
                  <c:v>0.07178276387539519</c:v>
                </c:pt>
                <c:pt idx="3">
                  <c:v>0.01932140439824797</c:v>
                </c:pt>
                <c:pt idx="4">
                  <c:v>0.0787004175139863</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9318942391174119</c:v>
                </c:pt>
                <c:pt idx="2">
                  <c:v>0.055137933884248834</c:v>
                </c:pt>
                <c:pt idx="3">
                  <c:v>0.03473668652662813</c:v>
                </c:pt>
                <c:pt idx="4">
                  <c:v>0.06767013652507513</c:v>
                </c:pt>
                <c:pt idx="5">
                  <c:v>0.013478288425252933</c:v>
                </c:pt>
                <c:pt idx="6">
                  <c:v>9.015757891967771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9902539055901118</c:v>
                </c:pt>
                <c:pt idx="2">
                  <c:v>0.06450832288352</c:v>
                </c:pt>
                <c:pt idx="3">
                  <c:v>0.0277842525331899</c:v>
                </c:pt>
                <c:pt idx="4">
                  <c:v>0.09874369385147747</c:v>
                </c:pt>
                <c:pt idx="5">
                  <c:v>0.006021413150086919</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6021413150086919</c:v>
                </c:pt>
                <c:pt idx="2">
                  <c:v>0.09874369385147747</c:v>
                </c:pt>
                <c:pt idx="3">
                  <c:v>0.0277842525331899</c:v>
                </c:pt>
                <c:pt idx="4">
                  <c:v>0.06450832288352</c:v>
                </c:pt>
                <c:pt idx="5">
                  <c:v>0.09902539055901118</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9518821305351297</c:v>
                </c:pt>
                <c:pt idx="2">
                  <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5233206825432513</c:v>
                </c:pt>
                <c:pt idx="3">
                  <c:v>0.024515348950153868</c:v>
                </c:pt>
                <c:pt idx="4">
                  <c:v>0.0851797485150551</c:v>
                </c:pt>
                <c:pt idx="5">
                  <c:v>0.0396119252888557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526041463350669</c:v>
                </c:pt>
                <c:pt idx="3">
                  <c:v>0.033856581368870375</c:v>
                </c:pt>
                <c:pt idx="4">
                  <c:v>0.08502524402054405</c:v>
                </c:pt>
                <c:pt idx="5">
                  <c:v>0.04373994730233104</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7323993457447819</c:v>
                </c:pt>
                <c:pt idx="1">
                  <c:v>0.0362532960170589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4373994730233104</c:v>
                </c:pt>
                <c:pt idx="2">
                  <c:v>0.08502524402054405</c:v>
                </c:pt>
                <c:pt idx="3">
                  <c:v>0.033856581368870375</c:v>
                </c:pt>
                <c:pt idx="4">
                  <c:v>0.0526041463350669</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9427717268307e-07</c:v>
                </c:pt>
                <c:pt idx="1">
                  <c:v/>
                </c:pt>
                <c:pt idx="2">
                  <c:v/>
                </c:pt>
                <c:pt idx="3">
                  <c:v/>
                </c:pt>
                <c:pt idx="4">
                  <c:v>0.01848874822783098</c:v>
                </c:pt>
                <c:pt idx="5">
                  <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815609740400782e-06</c:v>
                </c:pt>
                <c:pt idx="1">
                  <c:v/>
                </c:pt>
                <c:pt idx="2">
                  <c:v/>
                </c:pt>
                <c:pt idx="3">
                  <c:v/>
                </c:pt>
                <c:pt idx="4">
                  <c:v>0.021894296264203028</c:v>
                </c:pt>
                <c:pt idx="5">
                  <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21894296264203028</c:v>
                </c:pt>
                <c:pt idx="3">
                  <c:v/>
                </c:pt>
                <c:pt idx="4">
                  <c:v/>
                </c:pt>
                <c:pt idx="5">
                  <c:v/>
                </c:pt>
                <c:pt idx="6">
                  <c:v>2.815609740400782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1195949308392695e-06</c:v>
                </c:pt>
                <c:pt idx="1">
                  <c:v/>
                </c:pt>
                <c:pt idx="2">
                  <c:v/>
                </c:pt>
                <c:pt idx="3">
                  <c:v>0.005172271858072901</c:v>
                </c:pt>
                <c:pt idx="4">
                  <c:v>0.03691210355428746</c:v>
                </c:pt>
                <c:pt idx="5">
                  <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998279604987192</c:v>
                </c:pt>
                <c:pt idx="4">
                  <c:v>0.09269665310194002</c:v>
                </c:pt>
                <c:pt idx="5">
                  <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9269665310194002</c:v>
                </c:pt>
                <c:pt idx="3">
                  <c:v>0.002998279604987192</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pt idx="6">
                  <c:v>2.153219263875959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9427717268307e-07</c:v>
                </c:pt>
                <c:pt idx="1">
                  <c:v/>
                </c:pt>
                <c:pt idx="2">
                  <c:v/>
                </c:pt>
                <c:pt idx="3">
                  <c:v/>
                </c:pt>
                <c:pt idx="4">
                  <c:v>0.01848874822783098</c:v>
                </c:pt>
                <c:pt idx="5">
                  <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Aperitif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333063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Ingredient A Chaud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358886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164841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748261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62189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403574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088006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alad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645916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alad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098954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682166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666278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Aperitif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122973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466254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545539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066399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479251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190332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245505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577057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293732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811025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954069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2272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070294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720864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403813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Ingredient A Chaud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386253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Ingredient A Chaud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860668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Ingredient A Chaud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140414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335</Words>
  <Application>Microsoft Office PowerPoint</Application>
  <PresentationFormat>On-screen Show (16:9)</PresentationFormat>
  <Paragraphs>1247</Paragraphs>
  <Slides>29</Slides>
  <Notes>2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0"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2:4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